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sldIdLst>
    <p:sldId id="428" r:id="rId2"/>
    <p:sldId id="445" r:id="rId3"/>
    <p:sldId id="483" r:id="rId4"/>
    <p:sldId id="478" r:id="rId5"/>
    <p:sldId id="484" r:id="rId6"/>
    <p:sldId id="479" r:id="rId7"/>
    <p:sldId id="482" r:id="rId8"/>
    <p:sldId id="485" r:id="rId9"/>
    <p:sldId id="486" r:id="rId10"/>
    <p:sldId id="481" r:id="rId11"/>
    <p:sldId id="480" r:id="rId12"/>
    <p:sldId id="470" r:id="rId13"/>
    <p:sldId id="469" r:id="rId14"/>
    <p:sldId id="471" r:id="rId15"/>
    <p:sldId id="474" r:id="rId16"/>
    <p:sldId id="472" r:id="rId17"/>
    <p:sldId id="473" r:id="rId18"/>
    <p:sldId id="475" r:id="rId19"/>
    <p:sldId id="476" r:id="rId20"/>
    <p:sldId id="477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79498"/>
  </p:normalViewPr>
  <p:slideViewPr>
    <p:cSldViewPr snapToGrid="0" snapToObjects="1">
      <p:cViewPr varScale="1">
        <p:scale>
          <a:sx n="98" d="100"/>
          <a:sy n="98" d="100"/>
        </p:scale>
        <p:origin x="464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07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rläufer Arpanet verband US-amerikanische Universitäten, die für das Verteidigungsministerium forschten (seit 1968)</a:t>
            </a:r>
          </a:p>
          <a:p>
            <a:r>
              <a:rPr lang="de-DE" dirty="0"/>
              <a:t>Das heutige Internet verbindet alle per Kabel, WLAN oder Mobilfunk </a:t>
            </a:r>
            <a:r>
              <a:rPr lang="de-DE" i="1" dirty="0"/>
              <a:t>angeschlossenen</a:t>
            </a:r>
            <a:r>
              <a:rPr lang="de-DE" dirty="0"/>
              <a:t> Gerä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Beispiel: E-Mail</a:t>
            </a:r>
          </a:p>
          <a:p>
            <a:endParaRPr lang="en-DE" dirty="0"/>
          </a:p>
          <a:p>
            <a:r>
              <a:rPr lang="en-DE" dirty="0"/>
              <a:t>1. Inhalt schreiben, z.B. “Hallo, heute Mittag Mensa?”</a:t>
            </a:r>
          </a:p>
          <a:p>
            <a:r>
              <a:rPr lang="en-DE" dirty="0"/>
              <a:t>2. Umschlag beschriften mit zieladresse und absenderadresse</a:t>
            </a:r>
          </a:p>
          <a:p>
            <a:endParaRPr lang="en-DE" dirty="0"/>
          </a:p>
          <a:p>
            <a:r>
              <a:rPr lang="en-DE" dirty="0"/>
              <a:t>Ziel und Absenderadresse sind keine Adressen von Häusern, sondern Adressen von Rechnern im Internet – Das Protokoll IP bestimmt, wie diese Adressen aussehen</a:t>
            </a:r>
          </a:p>
          <a:p>
            <a:endParaRPr lang="en-DE" dirty="0"/>
          </a:p>
          <a:p>
            <a:r>
              <a:rPr lang="en-DE" dirty="0"/>
              <a:t>Dann – Was schreib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4208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Internet Protocol)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nhalt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isier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put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izie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n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-</a:t>
            </a:r>
            <a:r>
              <a:rPr lang="en-GB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deutig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ne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b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k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vo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send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ier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outer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e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e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is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Format #.#.#.#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be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#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wisc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 und 255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be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öß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te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t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 Byt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2 Bits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uell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ion 4 des IP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56</a:t>
            </a:r>
            <a:r>
              <a:rPr lang="en-GB" sz="1200" b="0" i="0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. 4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liar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chei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in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u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ion 6 des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tütz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28 Bits, um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utli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chei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n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d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fü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b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91681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CP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Transmission Control Protocol)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kol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pfang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CP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laub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zel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hn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hrer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ns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zubie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ie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rch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h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h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erstütz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: an die IP-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es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ehän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spiels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r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frag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ü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ei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den Port 80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sende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schlüssel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seit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m Port 443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efrag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194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07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ython.org/3/library/stdtypes.html#string-methods" TargetMode="External"/><Relationship Id="rId2" Type="http://schemas.openxmlformats.org/officeDocument/2006/relationships/hyperlink" Target="https://docs.python.org/3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Web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D427E-44A2-549C-080D-372ADF176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E97746-036C-42C5-D233-52B4CCBE69D9}"/>
              </a:ext>
            </a:extLst>
          </p:cNvPr>
          <p:cNvGrpSpPr/>
          <p:nvPr/>
        </p:nvGrpSpPr>
        <p:grpSpPr>
          <a:xfrm>
            <a:off x="2089208" y="2041518"/>
            <a:ext cx="1594649" cy="1378425"/>
            <a:chOff x="627796" y="2019869"/>
            <a:chExt cx="1610437" cy="1392072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670D27CB-EC47-3BC1-9930-FA9DB4347520}"/>
                </a:ext>
              </a:extLst>
            </p:cNvPr>
            <p:cNvSpPr/>
            <p:nvPr/>
          </p:nvSpPr>
          <p:spPr>
            <a:xfrm>
              <a:off x="791570" y="2019869"/>
              <a:ext cx="1446663" cy="928047"/>
            </a:xfrm>
            <a:prstGeom prst="roundRect">
              <a:avLst/>
            </a:prstGeom>
            <a:solidFill>
              <a:srgbClr val="4285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5C9B4E80-B660-BCC0-ADA7-5417F8153852}"/>
                </a:ext>
              </a:extLst>
            </p:cNvPr>
            <p:cNvSpPr/>
            <p:nvPr/>
          </p:nvSpPr>
          <p:spPr>
            <a:xfrm>
              <a:off x="879143" y="2076048"/>
              <a:ext cx="1271517" cy="815688"/>
            </a:xfrm>
            <a:prstGeom prst="roundRect">
              <a:avLst>
                <a:gd name="adj" fmla="val 9908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80E843C-4613-558A-A5C1-47C3333E892D}"/>
                </a:ext>
              </a:extLst>
            </p:cNvPr>
            <p:cNvSpPr/>
            <p:nvPr/>
          </p:nvSpPr>
          <p:spPr>
            <a:xfrm>
              <a:off x="627796" y="2947917"/>
              <a:ext cx="1522863" cy="464024"/>
            </a:xfrm>
            <a:prstGeom prst="parallelogram">
              <a:avLst>
                <a:gd name="adj" fmla="val 60396"/>
              </a:avLst>
            </a:prstGeom>
            <a:solidFill>
              <a:srgbClr val="4285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ACBF29D-0211-C3A8-28A5-27F41B3DD08E}"/>
              </a:ext>
            </a:extLst>
          </p:cNvPr>
          <p:cNvSpPr txBox="1"/>
          <p:nvPr/>
        </p:nvSpPr>
        <p:spPr>
          <a:xfrm>
            <a:off x="2351738" y="3488182"/>
            <a:ext cx="7152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Client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62ADAB0-E145-B0EF-FFA2-0E56117FB1F6}"/>
              </a:ext>
            </a:extLst>
          </p:cNvPr>
          <p:cNvSpPr/>
          <p:nvPr/>
        </p:nvSpPr>
        <p:spPr>
          <a:xfrm rot="693075">
            <a:off x="5198761" y="2015458"/>
            <a:ext cx="1351128" cy="1351128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92C5C4-006A-1082-4C12-241A49CAA932}"/>
              </a:ext>
            </a:extLst>
          </p:cNvPr>
          <p:cNvSpPr txBox="1"/>
          <p:nvPr/>
        </p:nvSpPr>
        <p:spPr>
          <a:xfrm>
            <a:off x="5527115" y="3488182"/>
            <a:ext cx="9044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Intern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475967-F35E-41EB-81AC-F5F96D3315FE}"/>
              </a:ext>
            </a:extLst>
          </p:cNvPr>
          <p:cNvSpPr txBox="1"/>
          <p:nvPr/>
        </p:nvSpPr>
        <p:spPr>
          <a:xfrm>
            <a:off x="8458727" y="3488182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Roboto" charset="0"/>
                <a:ea typeface="Roboto" charset="0"/>
                <a:cs typeface="Roboto" charset="0"/>
              </a:rPr>
              <a:t>Web Serv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27A42B-9A50-2AAF-D0B3-C999235A48AD}"/>
              </a:ext>
            </a:extLst>
          </p:cNvPr>
          <p:cNvSpPr/>
          <p:nvPr/>
        </p:nvSpPr>
        <p:spPr>
          <a:xfrm>
            <a:off x="8291113" y="2096110"/>
            <a:ext cx="1549021" cy="1323833"/>
          </a:xfrm>
          <a:prstGeom prst="rect">
            <a:avLst/>
          </a:prstGeom>
          <a:solidFill>
            <a:srgbClr val="4285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id="{EEEA1FAB-A79B-8802-1B40-3608BB9A90E4}"/>
              </a:ext>
            </a:extLst>
          </p:cNvPr>
          <p:cNvSpPr/>
          <p:nvPr/>
        </p:nvSpPr>
        <p:spPr>
          <a:xfrm>
            <a:off x="8396290" y="2437303"/>
            <a:ext cx="1276230" cy="764273"/>
          </a:xfrm>
          <a:prstGeom prst="can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E65A42E-EAA3-DC05-DBF6-A2FF70D31FAE}"/>
              </a:ext>
            </a:extLst>
          </p:cNvPr>
          <p:cNvCxnSpPr/>
          <p:nvPr/>
        </p:nvCxnSpPr>
        <p:spPr>
          <a:xfrm>
            <a:off x="3846025" y="2300826"/>
            <a:ext cx="4305485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55558A1B-5088-FCEF-BEC0-05A14FC704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4613" y="2168370"/>
            <a:ext cx="1114288" cy="67315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60C91C8-F712-5688-C87D-F4608F6585AF}"/>
              </a:ext>
            </a:extLst>
          </p:cNvPr>
          <p:cNvSpPr txBox="1"/>
          <p:nvPr/>
        </p:nvSpPr>
        <p:spPr>
          <a:xfrm>
            <a:off x="2658541" y="1350319"/>
            <a:ext cx="64315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1. Client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öffn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Browser und will Website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https:/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ww.oth-regensburg.d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akultaet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/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informatik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-und-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mathematik.html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öffn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(GET-Request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9C473B-FF63-B6CA-6091-3F598E55681F}"/>
              </a:ext>
            </a:extLst>
          </p:cNvPr>
          <p:cNvSpPr txBox="1"/>
          <p:nvPr/>
        </p:nvSpPr>
        <p:spPr>
          <a:xfrm>
            <a:off x="7882453" y="3868282"/>
            <a:ext cx="240642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2. Webserv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“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uch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”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eit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uf d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lokal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estplatte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(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oder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uf</a:t>
            </a:r>
          </a:p>
          <a:p>
            <a:pPr algn="ctr"/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inem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irtuell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Rechner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in der Cloud)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01AA6F-7F7F-7E39-8831-421C50A9985A}"/>
              </a:ext>
            </a:extLst>
          </p:cNvPr>
          <p:cNvSpPr txBox="1"/>
          <p:nvPr/>
        </p:nvSpPr>
        <p:spPr>
          <a:xfrm>
            <a:off x="4222270" y="3053377"/>
            <a:ext cx="33041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2. Webserver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end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html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i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zurück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(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igtl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. HTML-Code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als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String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E28D09D-2DF9-8FBD-28E1-2D60744DF15A}"/>
              </a:ext>
            </a:extLst>
          </p:cNvPr>
          <p:cNvCxnSpPr/>
          <p:nvPr/>
        </p:nvCxnSpPr>
        <p:spPr>
          <a:xfrm flipH="1">
            <a:off x="3864881" y="2960466"/>
            <a:ext cx="4305485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63D24A1-00D5-B0FE-3807-1DA17FCC79AB}"/>
              </a:ext>
            </a:extLst>
          </p:cNvPr>
          <p:cNvSpPr txBox="1"/>
          <p:nvPr/>
        </p:nvSpPr>
        <p:spPr>
          <a:xfrm>
            <a:off x="1908592" y="3912986"/>
            <a:ext cx="18536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3. Client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bbrowser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erarbeite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HTML-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i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,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render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Website und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fragt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itere</a:t>
            </a:r>
            <a:b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</a:br>
            <a:r>
              <a:rPr lang="en-US" sz="1400" dirty="0" err="1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n</a:t>
            </a:r>
            <a:r>
              <a:rPr lang="en-U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an</a:t>
            </a:r>
            <a:r>
              <a:rPr lang="is-IS" sz="1400" dirty="0"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… (weitere GET-Requests)</a:t>
            </a:r>
            <a:endParaRPr lang="en-US" sz="1400" dirty="0"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B99329-CB9F-75A5-2D30-93F58598ECF1}"/>
              </a:ext>
            </a:extLst>
          </p:cNvPr>
          <p:cNvSpPr txBox="1"/>
          <p:nvPr/>
        </p:nvSpPr>
        <p:spPr>
          <a:xfrm>
            <a:off x="7083231" y="5499776"/>
            <a:ext cx="3432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Quelle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: 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Vgl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. https://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en.wikipedia.org</a:t>
            </a:r>
            <a:r>
              <a:rPr lang="en-US" sz="1000" dirty="0">
                <a:latin typeface="Roboto Light" charset="0"/>
                <a:ea typeface="Roboto Light" charset="0"/>
                <a:cs typeface="Roboto Light" charset="0"/>
              </a:rPr>
              <a:t>/wiki/</a:t>
            </a:r>
            <a:r>
              <a:rPr lang="en-US" sz="1000" dirty="0" err="1">
                <a:latin typeface="Roboto Light" charset="0"/>
                <a:ea typeface="Roboto Light" charset="0"/>
                <a:cs typeface="Roboto Light" charset="0"/>
              </a:rPr>
              <a:t>Static_web_page</a:t>
            </a:r>
            <a:endParaRPr lang="en-US" sz="1000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6D2E77-4385-B923-D7C2-8F3C8B885A5E}"/>
              </a:ext>
            </a:extLst>
          </p:cNvPr>
          <p:cNvSpPr/>
          <p:nvPr/>
        </p:nvSpPr>
        <p:spPr>
          <a:xfrm>
            <a:off x="4273565" y="4197081"/>
            <a:ext cx="2725046" cy="11349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lche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weiter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Dat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muss der Client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vom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Webserver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anfrag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?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BEB2611-9207-DE93-6CBE-5EBE02C2F308}"/>
              </a:ext>
            </a:extLst>
          </p:cNvPr>
          <p:cNvSpPr/>
          <p:nvPr/>
        </p:nvSpPr>
        <p:spPr>
          <a:xfrm>
            <a:off x="4167481" y="3954383"/>
            <a:ext cx="395785" cy="395785"/>
          </a:xfrm>
          <a:prstGeom prst="ellipse">
            <a:avLst/>
          </a:prstGeom>
          <a:solidFill>
            <a:srgbClr val="669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Roboto Light" charset="0"/>
                <a:ea typeface="Roboto Light" charset="0"/>
                <a:cs typeface="Roboto Light" charset="0"/>
              </a:rPr>
              <a:t>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F6DD78-D884-7674-1EA7-AA5FFADAD4A9}"/>
              </a:ext>
            </a:extLst>
          </p:cNvPr>
          <p:cNvSpPr/>
          <p:nvPr/>
        </p:nvSpPr>
        <p:spPr>
          <a:xfrm>
            <a:off x="4273565" y="5258031"/>
            <a:ext cx="2725046" cy="5265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z.B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.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Bilder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,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später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 CSS, JavaScript,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etc</a:t>
            </a:r>
            <a:r>
              <a:rPr lang="is-I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Bahnschrift Light" panose="020B0502040204020203" pitchFamily="34" charset="0"/>
                <a:ea typeface="Roboto Light" charset="0"/>
                <a:cs typeface="Roboto Light" charset="0"/>
              </a:rPr>
              <a:t>……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Bahnschrift Light" panose="020B0502040204020203" pitchFamily="34" charset="0"/>
              <a:ea typeface="Roboto Light" charset="0"/>
              <a:cs typeface="Robo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025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20" grpId="0"/>
      <p:bldP spid="22" grpId="0" animBg="1"/>
      <p:bldP spid="23" grpId="0" animBg="1"/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96219-A6B2-D143-6ECE-918270066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NHA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722E01-EC3D-E2D1-1F4D-6B54340785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943485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8412905" y="6209234"/>
            <a:ext cx="3127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_buggy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_list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422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names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2"/>
            <a:ext cx="10515600" cy="690471"/>
          </a:xfrm>
        </p:spPr>
        <p:txBody>
          <a:bodyPr anchor="t"/>
          <a:lstStyle/>
          <a:p>
            <a:r>
              <a:rPr lang="de-DE" sz="3200" dirty="0"/>
              <a:t>Arpanet als erstes Netzwerk miteinander kommunizierender Rechner</a:t>
            </a:r>
          </a:p>
        </p:txBody>
      </p:sp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9129310" y="6166437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calculator1.py, </a:t>
            </a:r>
            <a:r>
              <a:rPr lang="de-DE" sz="1200" dirty="0" err="1">
                <a:latin typeface="Lato Light" panose="020F0302020204030203" pitchFamily="34" charset="77"/>
              </a:rPr>
              <a:t>positive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3A3FB3E-D770-BD6C-CA23-E0257CD71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05106" y="1731257"/>
            <a:ext cx="5578252" cy="378870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931D6C-561A-471C-7DF0-70AFF717086A}"/>
              </a:ext>
            </a:extLst>
          </p:cNvPr>
          <p:cNvSpPr txBox="1"/>
          <p:nvPr/>
        </p:nvSpPr>
        <p:spPr>
          <a:xfrm>
            <a:off x="517747" y="5939426"/>
            <a:ext cx="11063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S50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E05753-0CF4-9EF3-FA41-06A6623EF6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1886" y="1643777"/>
            <a:ext cx="5224054" cy="357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79302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library/stdtypes.html#string-methods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23E7C-21C5-C50E-55B6-14F118EAE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eutiges Internet als Weiterentwicklung des Arpan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DE067F-009F-853C-C460-28C278DE0F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2029759"/>
            <a:ext cx="6601097" cy="27984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86B74F-7B5B-5E63-8528-AA1874AEC0F2}"/>
              </a:ext>
            </a:extLst>
          </p:cNvPr>
          <p:cNvSpPr txBox="1"/>
          <p:nvPr/>
        </p:nvSpPr>
        <p:spPr>
          <a:xfrm>
            <a:off x="517747" y="5939426"/>
            <a:ext cx="2678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infrapedia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app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693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712FB-7880-0567-4225-721408C9C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s Intern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CA998-895B-450C-8E76-2A42B7BC03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03070"/>
            <a:ext cx="5578252" cy="4351338"/>
          </a:xfrm>
        </p:spPr>
        <p:txBody>
          <a:bodyPr/>
          <a:lstStyle/>
          <a:p>
            <a:r>
              <a:rPr lang="de-DE" dirty="0"/>
              <a:t>Verbindet alle per Kabel, WLAN oder Mobilfunk </a:t>
            </a:r>
            <a:r>
              <a:rPr lang="de-DE" i="1" dirty="0"/>
              <a:t>angeschlossenen</a:t>
            </a:r>
            <a:r>
              <a:rPr lang="de-DE" dirty="0"/>
              <a:t> Geräte</a:t>
            </a:r>
          </a:p>
          <a:p>
            <a:r>
              <a:rPr lang="de-DE" b="1" dirty="0"/>
              <a:t>Router</a:t>
            </a:r>
            <a:r>
              <a:rPr lang="de-DE" dirty="0"/>
              <a:t> leiten die Anfragen zwischen diesen Rechnern weiter</a:t>
            </a:r>
          </a:p>
          <a:p>
            <a:r>
              <a:rPr lang="de-DE" b="1" dirty="0"/>
              <a:t>Protokolle</a:t>
            </a:r>
            <a:r>
              <a:rPr lang="de-DE" dirty="0"/>
              <a:t> legen fest, wie Rechner miteinander kommunizieren</a:t>
            </a:r>
          </a:p>
          <a:p>
            <a:r>
              <a:rPr lang="de-DE" dirty="0"/>
              <a:t>Rechner im Internet kommunizieren über </a:t>
            </a:r>
            <a:r>
              <a:rPr lang="de-DE" b="1" dirty="0"/>
              <a:t>TCP/IP</a:t>
            </a:r>
            <a:endParaRPr lang="en-DE" b="1" dirty="0"/>
          </a:p>
        </p:txBody>
      </p:sp>
    </p:spTree>
    <p:extLst>
      <p:ext uri="{BB962C8B-B14F-4D97-AF65-F5344CB8AC3E}">
        <p14:creationId xmlns:p14="http://schemas.microsoft.com/office/powerpoint/2010/main" val="26333959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77FB-8605-70EF-5070-8558A24A3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D14B8-0745-C355-FF04-2FDAE815E6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DE" dirty="0"/>
          </a:p>
          <a:p>
            <a:pPr marL="0" indent="0">
              <a:buNone/>
            </a:pPr>
            <a:endParaRPr lang="en-DE" dirty="0"/>
          </a:p>
          <a:p>
            <a:pPr marL="0" indent="0">
              <a:buNone/>
            </a:pPr>
            <a:r>
              <a:rPr lang="en-DE" dirty="0"/>
              <a:t>Wie lassen sich Daten über das Internet verschicken?</a:t>
            </a:r>
          </a:p>
        </p:txBody>
      </p:sp>
    </p:spTree>
    <p:extLst>
      <p:ext uri="{BB962C8B-B14F-4D97-AF65-F5344CB8AC3E}">
        <p14:creationId xmlns:p14="http://schemas.microsoft.com/office/powerpoint/2010/main" val="637998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FECD8-AEAA-85E4-C07A-75446749F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IP bestimmt die Adresse eines Rech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A722D2-E412-F388-EA95-0B16564D4D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182339"/>
            <a:ext cx="5578252" cy="6523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DE" sz="32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#.#.#.#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1418E05-3516-E49C-236D-B12E2D3F1C6D}"/>
              </a:ext>
            </a:extLst>
          </p:cNvPr>
          <p:cNvSpPr txBox="1">
            <a:spLocks/>
          </p:cNvSpPr>
          <p:nvPr/>
        </p:nvSpPr>
        <p:spPr>
          <a:xfrm>
            <a:off x="517748" y="3690258"/>
            <a:ext cx="5578252" cy="6523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32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142.250.186.131</a:t>
            </a:r>
          </a:p>
        </p:txBody>
      </p:sp>
    </p:spTree>
    <p:extLst>
      <p:ext uri="{BB962C8B-B14F-4D97-AF65-F5344CB8AC3E}">
        <p14:creationId xmlns:p14="http://schemas.microsoft.com/office/powerpoint/2010/main" val="492618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271709-815C-90F1-C470-5CD7D184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CP beschreibt welcher Dienst auf einem Rechner genutzt werden s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1DA5AA-1E17-12D1-AA1B-F01440F29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33303"/>
            <a:ext cx="5578252" cy="3881916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80 HTTP</a:t>
            </a:r>
          </a:p>
          <a:p>
            <a:pPr marL="0" indent="0">
              <a:buNone/>
            </a:pPr>
            <a:r>
              <a:rPr lang="en-DE" dirty="0"/>
              <a:t>443 HTTPS</a:t>
            </a:r>
          </a:p>
          <a:p>
            <a:pPr marL="0" indent="0">
              <a:buNone/>
            </a:pPr>
            <a:r>
              <a:rPr lang="en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34747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93C8F-5BCB-78DD-76CD-5AAF71C46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dirty="0"/>
              <a:t>Größere Nachrichten müssen in Pakete unterteilt werden</a:t>
            </a:r>
          </a:p>
        </p:txBody>
      </p:sp>
      <p:pic>
        <p:nvPicPr>
          <p:cNvPr id="1026" name="Picture 2" descr="Russian blue cat wearing yellow sunglasses">
            <a:extLst>
              <a:ext uri="{FF2B5EF4-FFF2-40B4-BE49-F238E27FC236}">
                <a16:creationId xmlns:a16="http://schemas.microsoft.com/office/drawing/2014/main" id="{5E7A1B5F-1564-8CFB-6329-920AF393B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8" y="1861457"/>
            <a:ext cx="2572544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529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F3EEB-B0EC-5955-46F8-EB83EE7F9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IP Adressen kann man sich schlecht merk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6F04DA-484D-D210-E786-409769282A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21658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11</TotalTime>
  <Words>907</Words>
  <Application>Microsoft Macintosh PowerPoint</Application>
  <PresentationFormat>Widescreen</PresentationFormat>
  <Paragraphs>101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</vt:lpstr>
      <vt:lpstr>Bahnschrift Light</vt:lpstr>
      <vt:lpstr>Calibri</vt:lpstr>
      <vt:lpstr>Chakra Petch SemiBold</vt:lpstr>
      <vt:lpstr>Lato</vt:lpstr>
      <vt:lpstr>Lato Light</vt:lpstr>
      <vt:lpstr>Roboto</vt:lpstr>
      <vt:lpstr>Robo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Web</vt:lpstr>
      <vt:lpstr>Arpanet als erstes Netzwerk miteinander kommunizierender Rechner</vt:lpstr>
      <vt:lpstr>Heutiges Internet als Weiterentwicklung des Arpanet</vt:lpstr>
      <vt:lpstr>Das Internet</vt:lpstr>
      <vt:lpstr>PowerPoint Presentation</vt:lpstr>
      <vt:lpstr>IP bestimmt die Adresse eines Rechners</vt:lpstr>
      <vt:lpstr>TCP beschreibt welcher Dienst auf einem Rechner genutzt werden soll</vt:lpstr>
      <vt:lpstr>Größere Nachrichten müssen in Pakete unterteilt werden</vt:lpstr>
      <vt:lpstr>IP Adressen kann man sich schlecht merken</vt:lpstr>
      <vt:lpstr>PowerPoint Presentation</vt:lpstr>
      <vt:lpstr>ANHANG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7</cp:revision>
  <dcterms:created xsi:type="dcterms:W3CDTF">2022-02-03T14:23:38Z</dcterms:created>
  <dcterms:modified xsi:type="dcterms:W3CDTF">2022-07-07T10:07:50Z</dcterms:modified>
  <cp:category/>
</cp:coreProperties>
</file>